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84" r:id="rId6"/>
  </p:sldMasterIdLst>
  <p:notesMasterIdLst>
    <p:notesMasterId r:id="rId17"/>
  </p:notesMasterIdLst>
  <p:sldIdLst>
    <p:sldId id="1934" r:id="rId7"/>
    <p:sldId id="870" r:id="rId8"/>
    <p:sldId id="1942" r:id="rId9"/>
    <p:sldId id="1940" r:id="rId10"/>
    <p:sldId id="1467" r:id="rId11"/>
    <p:sldId id="1935" r:id="rId12"/>
    <p:sldId id="1936" r:id="rId13"/>
    <p:sldId id="1937" r:id="rId14"/>
    <p:sldId id="1939" r:id="rId15"/>
    <p:sldId id="1938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0B441D-58C8-498B-8A29-F64285FFEDB4}" v="16" dt="2021-03-24T19:07:55.6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3" autoAdjust="0"/>
    <p:restoredTop sz="94660"/>
  </p:normalViewPr>
  <p:slideViewPr>
    <p:cSldViewPr snapToGrid="0">
      <p:cViewPr varScale="1">
        <p:scale>
          <a:sx n="126" d="100"/>
          <a:sy n="126" d="100"/>
        </p:scale>
        <p:origin x="90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844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on, Kevin" userId="e60c6aad-8614-4884-8dc2-e8f78e5022b5" providerId="ADAL" clId="{76CA9687-ED5E-489A-A1EA-D4C4E5114997}"/>
    <pc:docChg chg="modSld">
      <pc:chgData name="Hanson, Kevin" userId="e60c6aad-8614-4884-8dc2-e8f78e5022b5" providerId="ADAL" clId="{76CA9687-ED5E-489A-A1EA-D4C4E5114997}" dt="2021-03-10T13:47:34.246" v="0" actId="20577"/>
      <pc:docMkLst>
        <pc:docMk/>
      </pc:docMkLst>
      <pc:sldChg chg="modSp">
        <pc:chgData name="Hanson, Kevin" userId="e60c6aad-8614-4884-8dc2-e8f78e5022b5" providerId="ADAL" clId="{76CA9687-ED5E-489A-A1EA-D4C4E5114997}" dt="2021-03-10T13:47:34.246" v="0" actId="20577"/>
        <pc:sldMkLst>
          <pc:docMk/>
          <pc:sldMk cId="295533977" sldId="1935"/>
        </pc:sldMkLst>
        <pc:spChg chg="mod">
          <ac:chgData name="Hanson, Kevin" userId="e60c6aad-8614-4884-8dc2-e8f78e5022b5" providerId="ADAL" clId="{76CA9687-ED5E-489A-A1EA-D4C4E5114997}" dt="2021-03-10T13:47:34.246" v="0" actId="20577"/>
          <ac:spMkLst>
            <pc:docMk/>
            <pc:sldMk cId="295533977" sldId="1935"/>
            <ac:spMk id="5" creationId="{7AF8A14A-4B85-44AE-8EB4-7EA2C0E16ECE}"/>
          </ac:spMkLst>
        </pc:spChg>
      </pc:sldChg>
    </pc:docChg>
  </pc:docChgLst>
  <pc:docChgLst>
    <pc:chgData name="Hanson, Kevin" userId="e60c6aad-8614-4884-8dc2-e8f78e5022b5" providerId="ADAL" clId="{0E0B441D-58C8-498B-8A29-F64285FFEDB4}"/>
    <pc:docChg chg="custSel addSld delSld modSld sldOrd">
      <pc:chgData name="Hanson, Kevin" userId="e60c6aad-8614-4884-8dc2-e8f78e5022b5" providerId="ADAL" clId="{0E0B441D-58C8-498B-8A29-F64285FFEDB4}" dt="2021-03-24T19:07:55.677" v="288"/>
      <pc:docMkLst>
        <pc:docMk/>
      </pc:docMkLst>
      <pc:sldChg chg="addSp delSp modSp add">
        <pc:chgData name="Hanson, Kevin" userId="e60c6aad-8614-4884-8dc2-e8f78e5022b5" providerId="ADAL" clId="{0E0B441D-58C8-498B-8A29-F64285FFEDB4}" dt="2021-03-24T19:07:34.155" v="287" actId="20577"/>
        <pc:sldMkLst>
          <pc:docMk/>
          <pc:sldMk cId="4046199760" sldId="870"/>
        </pc:sldMkLst>
        <pc:spChg chg="mod">
          <ac:chgData name="Hanson, Kevin" userId="e60c6aad-8614-4884-8dc2-e8f78e5022b5" providerId="ADAL" clId="{0E0B441D-58C8-498B-8A29-F64285FFEDB4}" dt="2021-03-24T19:01:17.651" v="111" actId="20577"/>
          <ac:spMkLst>
            <pc:docMk/>
            <pc:sldMk cId="4046199760" sldId="870"/>
            <ac:spMk id="3" creationId="{2969241B-F7AC-4CAE-8D41-F04B1EEABBA8}"/>
          </ac:spMkLst>
        </pc:spChg>
        <pc:spChg chg="mod">
          <ac:chgData name="Hanson, Kevin" userId="e60c6aad-8614-4884-8dc2-e8f78e5022b5" providerId="ADAL" clId="{0E0B441D-58C8-498B-8A29-F64285FFEDB4}" dt="2021-03-24T19:02:11.342" v="168" actId="1076"/>
          <ac:spMkLst>
            <pc:docMk/>
            <pc:sldMk cId="4046199760" sldId="870"/>
            <ac:spMk id="6" creationId="{BF9BEEB4-7D92-437E-B82E-C0FBDCAB1557}"/>
          </ac:spMkLst>
        </pc:spChg>
        <pc:spChg chg="add mod">
          <ac:chgData name="Hanson, Kevin" userId="e60c6aad-8614-4884-8dc2-e8f78e5022b5" providerId="ADAL" clId="{0E0B441D-58C8-498B-8A29-F64285FFEDB4}" dt="2021-03-24T19:07:34.155" v="287" actId="20577"/>
          <ac:spMkLst>
            <pc:docMk/>
            <pc:sldMk cId="4046199760" sldId="870"/>
            <ac:spMk id="7" creationId="{B1E4A750-904A-48A8-B911-F8560A9E89AE}"/>
          </ac:spMkLst>
        </pc:spChg>
        <pc:picChg chg="add del">
          <ac:chgData name="Hanson, Kevin" userId="e60c6aad-8614-4884-8dc2-e8f78e5022b5" providerId="ADAL" clId="{0E0B441D-58C8-498B-8A29-F64285FFEDB4}" dt="2021-03-24T18:58:34.712" v="16"/>
          <ac:picMkLst>
            <pc:docMk/>
            <pc:sldMk cId="4046199760" sldId="870"/>
            <ac:picMk id="5122" creationId="{375A8302-42BA-4C99-9E6B-77C810BCC336}"/>
          </ac:picMkLst>
        </pc:picChg>
      </pc:sldChg>
      <pc:sldChg chg="modSp">
        <pc:chgData name="Hanson, Kevin" userId="e60c6aad-8614-4884-8dc2-e8f78e5022b5" providerId="ADAL" clId="{0E0B441D-58C8-498B-8A29-F64285FFEDB4}" dt="2021-03-24T18:55:33.316" v="11" actId="20577"/>
        <pc:sldMkLst>
          <pc:docMk/>
          <pc:sldMk cId="2786364940" sldId="1934"/>
        </pc:sldMkLst>
        <pc:spChg chg="mod">
          <ac:chgData name="Hanson, Kevin" userId="e60c6aad-8614-4884-8dc2-e8f78e5022b5" providerId="ADAL" clId="{0E0B441D-58C8-498B-8A29-F64285FFEDB4}" dt="2021-03-24T18:55:33.316" v="11" actId="20577"/>
          <ac:spMkLst>
            <pc:docMk/>
            <pc:sldMk cId="2786364940" sldId="1934"/>
            <ac:spMk id="3" creationId="{57D185FB-353B-40E0-B66C-E9EE917C0492}"/>
          </ac:spMkLst>
        </pc:spChg>
      </pc:sldChg>
      <pc:sldChg chg="add del">
        <pc:chgData name="Hanson, Kevin" userId="e60c6aad-8614-4884-8dc2-e8f78e5022b5" providerId="ADAL" clId="{0E0B441D-58C8-498B-8A29-F64285FFEDB4}" dt="2021-03-24T18:55:45.747" v="13" actId="2696"/>
        <pc:sldMkLst>
          <pc:docMk/>
          <pc:sldMk cId="1565769592" sldId="1940"/>
        </pc:sldMkLst>
      </pc:sldChg>
      <pc:sldChg chg="addSp delSp modSp add">
        <pc:chgData name="Hanson, Kevin" userId="e60c6aad-8614-4884-8dc2-e8f78e5022b5" providerId="ADAL" clId="{0E0B441D-58C8-498B-8A29-F64285FFEDB4}" dt="2021-03-24T18:59:08.019" v="58" actId="20577"/>
        <pc:sldMkLst>
          <pc:docMk/>
          <pc:sldMk cId="1820951145" sldId="1940"/>
        </pc:sldMkLst>
        <pc:spChg chg="mod">
          <ac:chgData name="Hanson, Kevin" userId="e60c6aad-8614-4884-8dc2-e8f78e5022b5" providerId="ADAL" clId="{0E0B441D-58C8-498B-8A29-F64285FFEDB4}" dt="2021-03-24T18:59:08.019" v="58" actId="20577"/>
          <ac:spMkLst>
            <pc:docMk/>
            <pc:sldMk cId="1820951145" sldId="1940"/>
            <ac:spMk id="3" creationId="{2969241B-F7AC-4CAE-8D41-F04B1EEABBA8}"/>
          </ac:spMkLst>
        </pc:spChg>
        <pc:picChg chg="del">
          <ac:chgData name="Hanson, Kevin" userId="e60c6aad-8614-4884-8dc2-e8f78e5022b5" providerId="ADAL" clId="{0E0B441D-58C8-498B-8A29-F64285FFEDB4}" dt="2021-03-24T18:58:42.716" v="18" actId="478"/>
          <ac:picMkLst>
            <pc:docMk/>
            <pc:sldMk cId="1820951145" sldId="1940"/>
            <ac:picMk id="2" creationId="{1BCB2302-D77E-4445-89F4-7F59E522BEB2}"/>
          </ac:picMkLst>
        </pc:picChg>
        <pc:picChg chg="add mod">
          <ac:chgData name="Hanson, Kevin" userId="e60c6aad-8614-4884-8dc2-e8f78e5022b5" providerId="ADAL" clId="{0E0B441D-58C8-498B-8A29-F64285FFEDB4}" dt="2021-03-24T18:58:54.686" v="21" actId="14100"/>
          <ac:picMkLst>
            <pc:docMk/>
            <pc:sldMk cId="1820951145" sldId="1940"/>
            <ac:picMk id="4" creationId="{6F61062D-C978-4572-AAED-AE1709DA326F}"/>
          </ac:picMkLst>
        </pc:picChg>
      </pc:sldChg>
      <pc:sldChg chg="add del">
        <pc:chgData name="Hanson, Kevin" userId="e60c6aad-8614-4884-8dc2-e8f78e5022b5" providerId="ADAL" clId="{0E0B441D-58C8-498B-8A29-F64285FFEDB4}" dt="2021-03-24T19:02:36.177" v="171" actId="2696"/>
        <pc:sldMkLst>
          <pc:docMk/>
          <pc:sldMk cId="3282445486" sldId="1941"/>
        </pc:sldMkLst>
      </pc:sldChg>
      <pc:sldChg chg="addSp delSp modSp add ord">
        <pc:chgData name="Hanson, Kevin" userId="e60c6aad-8614-4884-8dc2-e8f78e5022b5" providerId="ADAL" clId="{0E0B441D-58C8-498B-8A29-F64285FFEDB4}" dt="2021-03-24T19:07:55.677" v="288"/>
        <pc:sldMkLst>
          <pc:docMk/>
          <pc:sldMk cId="3579910365" sldId="1942"/>
        </pc:sldMkLst>
        <pc:spChg chg="mod">
          <ac:chgData name="Hanson, Kevin" userId="e60c6aad-8614-4884-8dc2-e8f78e5022b5" providerId="ADAL" clId="{0E0B441D-58C8-498B-8A29-F64285FFEDB4}" dt="2021-03-24T19:06:17.082" v="285" actId="20577"/>
          <ac:spMkLst>
            <pc:docMk/>
            <pc:sldMk cId="3579910365" sldId="1942"/>
            <ac:spMk id="3" creationId="{2969241B-F7AC-4CAE-8D41-F04B1EEABBA8}"/>
          </ac:spMkLst>
        </pc:spChg>
        <pc:spChg chg="del mod">
          <ac:chgData name="Hanson, Kevin" userId="e60c6aad-8614-4884-8dc2-e8f78e5022b5" providerId="ADAL" clId="{0E0B441D-58C8-498B-8A29-F64285FFEDB4}" dt="2021-03-24T19:04:29.909" v="175" actId="478"/>
          <ac:spMkLst>
            <pc:docMk/>
            <pc:sldMk cId="3579910365" sldId="1942"/>
            <ac:spMk id="6" creationId="{BF9BEEB4-7D92-437E-B82E-C0FBDCAB1557}"/>
          </ac:spMkLst>
        </pc:spChg>
        <pc:picChg chg="add del mod">
          <ac:chgData name="Hanson, Kevin" userId="e60c6aad-8614-4884-8dc2-e8f78e5022b5" providerId="ADAL" clId="{0E0B441D-58C8-498B-8A29-F64285FFEDB4}" dt="2021-03-24T19:04:57.415" v="181" actId="478"/>
          <ac:picMkLst>
            <pc:docMk/>
            <pc:sldMk cId="3579910365" sldId="1942"/>
            <ac:picMk id="2" creationId="{340E4FAD-51D6-47E0-B9A7-A15DD32C631F}"/>
          </ac:picMkLst>
        </pc:picChg>
        <pc:picChg chg="del">
          <ac:chgData name="Hanson, Kevin" userId="e60c6aad-8614-4884-8dc2-e8f78e5022b5" providerId="ADAL" clId="{0E0B441D-58C8-498B-8A29-F64285FFEDB4}" dt="2021-03-24T19:02:39.692" v="172" actId="478"/>
          <ac:picMkLst>
            <pc:docMk/>
            <pc:sldMk cId="3579910365" sldId="1942"/>
            <ac:picMk id="4" creationId="{6F61062D-C978-4572-AAED-AE1709DA326F}"/>
          </ac:picMkLst>
        </pc:picChg>
        <pc:picChg chg="add mod">
          <ac:chgData name="Hanson, Kevin" userId="e60c6aad-8614-4884-8dc2-e8f78e5022b5" providerId="ADAL" clId="{0E0B441D-58C8-498B-8A29-F64285FFEDB4}" dt="2021-03-24T19:05:28.173" v="185" actId="1076"/>
          <ac:picMkLst>
            <pc:docMk/>
            <pc:sldMk cId="3579910365" sldId="1942"/>
            <ac:picMk id="5" creationId="{4D65F4D1-5097-4340-9A60-49566A5DEC44}"/>
          </ac:picMkLst>
        </pc:picChg>
      </pc:sldChg>
    </pc:docChg>
  </pc:docChgLst>
  <pc:docChgLst>
    <pc:chgData name="Hanson, Kevin" userId="e60c6aad-8614-4884-8dc2-e8f78e5022b5" providerId="ADAL" clId="{CD801FB9-2615-48A5-8A71-D5E92EA6CAB8}"/>
    <pc:docChg chg="undo custSel addSld delSld modSld">
      <pc:chgData name="Hanson, Kevin" userId="e60c6aad-8614-4884-8dc2-e8f78e5022b5" providerId="ADAL" clId="{CD801FB9-2615-48A5-8A71-D5E92EA6CAB8}" dt="2021-03-07T14:20:38.023" v="3427" actId="20577"/>
      <pc:docMkLst>
        <pc:docMk/>
      </pc:docMkLst>
      <pc:sldChg chg="modSp">
        <pc:chgData name="Hanson, Kevin" userId="e60c6aad-8614-4884-8dc2-e8f78e5022b5" providerId="ADAL" clId="{CD801FB9-2615-48A5-8A71-D5E92EA6CAB8}" dt="2021-03-07T14:04:01.739" v="2589" actId="255"/>
        <pc:sldMkLst>
          <pc:docMk/>
          <pc:sldMk cId="3062570270" sldId="1467"/>
        </pc:sldMkLst>
        <pc:spChg chg="mod">
          <ac:chgData name="Hanson, Kevin" userId="e60c6aad-8614-4884-8dc2-e8f78e5022b5" providerId="ADAL" clId="{CD801FB9-2615-48A5-8A71-D5E92EA6CAB8}" dt="2021-03-07T13:26:30.818" v="1301" actId="20577"/>
          <ac:spMkLst>
            <pc:docMk/>
            <pc:sldMk cId="3062570270" sldId="1467"/>
            <ac:spMk id="2" creationId="{F6F818F3-0488-4633-B69C-D5A758E6C7A1}"/>
          </ac:spMkLst>
        </pc:spChg>
        <pc:spChg chg="mod">
          <ac:chgData name="Hanson, Kevin" userId="e60c6aad-8614-4884-8dc2-e8f78e5022b5" providerId="ADAL" clId="{CD801FB9-2615-48A5-8A71-D5E92EA6CAB8}" dt="2021-03-07T14:03:56.249" v="2588" actId="255"/>
          <ac:spMkLst>
            <pc:docMk/>
            <pc:sldMk cId="3062570270" sldId="1467"/>
            <ac:spMk id="3" creationId="{C3F50E54-2A65-427E-9654-EC9715669404}"/>
          </ac:spMkLst>
        </pc:spChg>
        <pc:spChg chg="mod">
          <ac:chgData name="Hanson, Kevin" userId="e60c6aad-8614-4884-8dc2-e8f78e5022b5" providerId="ADAL" clId="{CD801FB9-2615-48A5-8A71-D5E92EA6CAB8}" dt="2021-03-07T14:04:01.739" v="2589" actId="255"/>
          <ac:spMkLst>
            <pc:docMk/>
            <pc:sldMk cId="3062570270" sldId="1467"/>
            <ac:spMk id="4" creationId="{72614A4C-E0C3-4663-8329-49198A6AA48F}"/>
          </ac:spMkLst>
        </pc:spChg>
      </pc:sldChg>
      <pc:sldChg chg="modSp">
        <pc:chgData name="Hanson, Kevin" userId="e60c6aad-8614-4884-8dc2-e8f78e5022b5" providerId="ADAL" clId="{CD801FB9-2615-48A5-8A71-D5E92EA6CAB8}" dt="2021-03-07T14:13:51.677" v="3042" actId="14100"/>
        <pc:sldMkLst>
          <pc:docMk/>
          <pc:sldMk cId="2786364940" sldId="1934"/>
        </pc:sldMkLst>
        <pc:spChg chg="mod">
          <ac:chgData name="Hanson, Kevin" userId="e60c6aad-8614-4884-8dc2-e8f78e5022b5" providerId="ADAL" clId="{CD801FB9-2615-48A5-8A71-D5E92EA6CAB8}" dt="2021-03-07T14:13:51.677" v="3042" actId="14100"/>
          <ac:spMkLst>
            <pc:docMk/>
            <pc:sldMk cId="2786364940" sldId="1934"/>
            <ac:spMk id="2" creationId="{256268D1-38FA-4247-9673-30691D60BDEB}"/>
          </ac:spMkLst>
        </pc:spChg>
        <pc:spChg chg="mod">
          <ac:chgData name="Hanson, Kevin" userId="e60c6aad-8614-4884-8dc2-e8f78e5022b5" providerId="ADAL" clId="{CD801FB9-2615-48A5-8A71-D5E92EA6CAB8}" dt="2021-03-07T14:06:46.603" v="2708" actId="114"/>
          <ac:spMkLst>
            <pc:docMk/>
            <pc:sldMk cId="2786364940" sldId="1934"/>
            <ac:spMk id="3" creationId="{57D185FB-353B-40E0-B66C-E9EE917C0492}"/>
          </ac:spMkLst>
        </pc:spChg>
      </pc:sldChg>
      <pc:sldChg chg="addSp delSp modSp add modTransition">
        <pc:chgData name="Hanson, Kevin" userId="e60c6aad-8614-4884-8dc2-e8f78e5022b5" providerId="ADAL" clId="{CD801FB9-2615-48A5-8A71-D5E92EA6CAB8}" dt="2021-03-07T14:17:27.324" v="3287" actId="14100"/>
        <pc:sldMkLst>
          <pc:docMk/>
          <pc:sldMk cId="295533977" sldId="1935"/>
        </pc:sldMkLst>
        <pc:spChg chg="del">
          <ac:chgData name="Hanson, Kevin" userId="e60c6aad-8614-4884-8dc2-e8f78e5022b5" providerId="ADAL" clId="{CD801FB9-2615-48A5-8A71-D5E92EA6CAB8}" dt="2021-03-07T13:14:40.374" v="26"/>
          <ac:spMkLst>
            <pc:docMk/>
            <pc:sldMk cId="295533977" sldId="1935"/>
            <ac:spMk id="2" creationId="{A28F3011-0665-49C8-BA17-D1EF10B493F9}"/>
          </ac:spMkLst>
        </pc:spChg>
        <pc:spChg chg="mod">
          <ac:chgData name="Hanson, Kevin" userId="e60c6aad-8614-4884-8dc2-e8f78e5022b5" providerId="ADAL" clId="{CD801FB9-2615-48A5-8A71-D5E92EA6CAB8}" dt="2021-03-07T14:14:20.298" v="3043" actId="255"/>
          <ac:spMkLst>
            <pc:docMk/>
            <pc:sldMk cId="295533977" sldId="1935"/>
            <ac:spMk id="3" creationId="{BB732178-DDB7-4F97-AFF6-8BDE318563C7}"/>
          </ac:spMkLst>
        </pc:spChg>
        <pc:spChg chg="add mod">
          <ac:chgData name="Hanson, Kevin" userId="e60c6aad-8614-4884-8dc2-e8f78e5022b5" providerId="ADAL" clId="{CD801FB9-2615-48A5-8A71-D5E92EA6CAB8}" dt="2021-03-07T13:15:57.812" v="213" actId="20577"/>
          <ac:spMkLst>
            <pc:docMk/>
            <pc:sldMk cId="295533977" sldId="1935"/>
            <ac:spMk id="4" creationId="{B2CC67AC-8AB8-4EDD-9B62-E0274CD9E3EC}"/>
          </ac:spMkLst>
        </pc:spChg>
        <pc:spChg chg="add mod">
          <ac:chgData name="Hanson, Kevin" userId="e60c6aad-8614-4884-8dc2-e8f78e5022b5" providerId="ADAL" clId="{CD801FB9-2615-48A5-8A71-D5E92EA6CAB8}" dt="2021-03-07T14:17:27.324" v="3287" actId="14100"/>
          <ac:spMkLst>
            <pc:docMk/>
            <pc:sldMk cId="295533977" sldId="1935"/>
            <ac:spMk id="5" creationId="{7AF8A14A-4B85-44AE-8EB4-7EA2C0E16ECE}"/>
          </ac:spMkLst>
        </pc:spChg>
      </pc:sldChg>
      <pc:sldChg chg="modSp add">
        <pc:chgData name="Hanson, Kevin" userId="e60c6aad-8614-4884-8dc2-e8f78e5022b5" providerId="ADAL" clId="{CD801FB9-2615-48A5-8A71-D5E92EA6CAB8}" dt="2021-03-07T14:20:38.023" v="3427" actId="20577"/>
        <pc:sldMkLst>
          <pc:docMk/>
          <pc:sldMk cId="4206515168" sldId="1936"/>
        </pc:sldMkLst>
        <pc:spChg chg="mod">
          <ac:chgData name="Hanson, Kevin" userId="e60c6aad-8614-4884-8dc2-e8f78e5022b5" providerId="ADAL" clId="{CD801FB9-2615-48A5-8A71-D5E92EA6CAB8}" dt="2021-03-07T14:14:56.444" v="3044" actId="255"/>
          <ac:spMkLst>
            <pc:docMk/>
            <pc:sldMk cId="4206515168" sldId="1936"/>
            <ac:spMk id="3" creationId="{BB732178-DDB7-4F97-AFF6-8BDE318563C7}"/>
          </ac:spMkLst>
        </pc:spChg>
        <pc:spChg chg="mod">
          <ac:chgData name="Hanson, Kevin" userId="e60c6aad-8614-4884-8dc2-e8f78e5022b5" providerId="ADAL" clId="{CD801FB9-2615-48A5-8A71-D5E92EA6CAB8}" dt="2021-03-07T13:55:27.031" v="2500" actId="20577"/>
          <ac:spMkLst>
            <pc:docMk/>
            <pc:sldMk cId="4206515168" sldId="1936"/>
            <ac:spMk id="4" creationId="{B2CC67AC-8AB8-4EDD-9B62-E0274CD9E3EC}"/>
          </ac:spMkLst>
        </pc:spChg>
        <pc:spChg chg="mod">
          <ac:chgData name="Hanson, Kevin" userId="e60c6aad-8614-4884-8dc2-e8f78e5022b5" providerId="ADAL" clId="{CD801FB9-2615-48A5-8A71-D5E92EA6CAB8}" dt="2021-03-07T14:20:38.023" v="3427" actId="20577"/>
          <ac:spMkLst>
            <pc:docMk/>
            <pc:sldMk cId="4206515168" sldId="1936"/>
            <ac:spMk id="5" creationId="{7AF8A14A-4B85-44AE-8EB4-7EA2C0E16ECE}"/>
          </ac:spMkLst>
        </pc:spChg>
      </pc:sldChg>
      <pc:sldChg chg="addSp delSp modSp add">
        <pc:chgData name="Hanson, Kevin" userId="e60c6aad-8614-4884-8dc2-e8f78e5022b5" providerId="ADAL" clId="{CD801FB9-2615-48A5-8A71-D5E92EA6CAB8}" dt="2021-03-07T14:19:41.659" v="3292" actId="1076"/>
        <pc:sldMkLst>
          <pc:docMk/>
          <pc:sldMk cId="595568705" sldId="1937"/>
        </pc:sldMkLst>
        <pc:spChg chg="add del">
          <ac:chgData name="Hanson, Kevin" userId="e60c6aad-8614-4884-8dc2-e8f78e5022b5" providerId="ADAL" clId="{CD801FB9-2615-48A5-8A71-D5E92EA6CAB8}" dt="2021-03-07T13:56:42.286" v="2516"/>
          <ac:spMkLst>
            <pc:docMk/>
            <pc:sldMk cId="595568705" sldId="1937"/>
            <ac:spMk id="2" creationId="{3D891F24-0B33-420C-87F1-6256202DCC9C}"/>
          </ac:spMkLst>
        </pc:spChg>
        <pc:spChg chg="mod">
          <ac:chgData name="Hanson, Kevin" userId="e60c6aad-8614-4884-8dc2-e8f78e5022b5" providerId="ADAL" clId="{CD801FB9-2615-48A5-8A71-D5E92EA6CAB8}" dt="2021-03-07T14:02:44.028" v="2584"/>
          <ac:spMkLst>
            <pc:docMk/>
            <pc:sldMk cId="595568705" sldId="1937"/>
            <ac:spMk id="3" creationId="{F6284756-9923-4DA6-939D-470E1B7AF2AA}"/>
          </ac:spMkLst>
        </pc:spChg>
        <pc:spChg chg="add del">
          <ac:chgData name="Hanson, Kevin" userId="e60c6aad-8614-4884-8dc2-e8f78e5022b5" providerId="ADAL" clId="{CD801FB9-2615-48A5-8A71-D5E92EA6CAB8}" dt="2021-03-07T13:56:42.286" v="2516"/>
          <ac:spMkLst>
            <pc:docMk/>
            <pc:sldMk cId="595568705" sldId="1937"/>
            <ac:spMk id="4" creationId="{2384D4A5-ADAB-4199-9884-BEEB87248166}"/>
          </ac:spMkLst>
        </pc:spChg>
        <pc:spChg chg="add del mod">
          <ac:chgData name="Hanson, Kevin" userId="e60c6aad-8614-4884-8dc2-e8f78e5022b5" providerId="ADAL" clId="{CD801FB9-2615-48A5-8A71-D5E92EA6CAB8}" dt="2021-03-07T13:56:33.938" v="2515"/>
          <ac:spMkLst>
            <pc:docMk/>
            <pc:sldMk cId="595568705" sldId="1937"/>
            <ac:spMk id="5" creationId="{29B5D923-EB50-4421-8F3F-78C933B03FEF}"/>
          </ac:spMkLst>
        </pc:spChg>
        <pc:spChg chg="add mod">
          <ac:chgData name="Hanson, Kevin" userId="e60c6aad-8614-4884-8dc2-e8f78e5022b5" providerId="ADAL" clId="{CD801FB9-2615-48A5-8A71-D5E92EA6CAB8}" dt="2021-03-07T14:04:13.327" v="2590" actId="255"/>
          <ac:spMkLst>
            <pc:docMk/>
            <pc:sldMk cId="595568705" sldId="1937"/>
            <ac:spMk id="6" creationId="{1E89DB9B-CDE1-44F8-ADFF-EA66B19D0C2C}"/>
          </ac:spMkLst>
        </pc:spChg>
        <pc:picChg chg="add del">
          <ac:chgData name="Hanson, Kevin" userId="e60c6aad-8614-4884-8dc2-e8f78e5022b5" providerId="ADAL" clId="{CD801FB9-2615-48A5-8A71-D5E92EA6CAB8}" dt="2021-03-07T14:00:43.652" v="2576" actId="478"/>
          <ac:picMkLst>
            <pc:docMk/>
            <pc:sldMk cId="595568705" sldId="1937"/>
            <ac:picMk id="7" creationId="{759C2BFF-C975-4CA4-9A89-6371C13775DA}"/>
          </ac:picMkLst>
        </pc:picChg>
        <pc:picChg chg="add del mod">
          <ac:chgData name="Hanson, Kevin" userId="e60c6aad-8614-4884-8dc2-e8f78e5022b5" providerId="ADAL" clId="{CD801FB9-2615-48A5-8A71-D5E92EA6CAB8}" dt="2021-03-07T14:19:32.276" v="3289" actId="478"/>
          <ac:picMkLst>
            <pc:docMk/>
            <pc:sldMk cId="595568705" sldId="1937"/>
            <ac:picMk id="8" creationId="{9B9D4849-D161-4F28-8533-0B804F5E2704}"/>
          </ac:picMkLst>
        </pc:picChg>
        <pc:picChg chg="add mod">
          <ac:chgData name="Hanson, Kevin" userId="e60c6aad-8614-4884-8dc2-e8f78e5022b5" providerId="ADAL" clId="{CD801FB9-2615-48A5-8A71-D5E92EA6CAB8}" dt="2021-03-07T14:19:41.659" v="3292" actId="1076"/>
          <ac:picMkLst>
            <pc:docMk/>
            <pc:sldMk cId="595568705" sldId="1937"/>
            <ac:picMk id="9" creationId="{0E464632-5E85-4535-8173-FAA0EF28237B}"/>
          </ac:picMkLst>
        </pc:picChg>
      </pc:sldChg>
      <pc:sldChg chg="delSp add modTransition">
        <pc:chgData name="Hanson, Kevin" userId="e60c6aad-8614-4884-8dc2-e8f78e5022b5" providerId="ADAL" clId="{CD801FB9-2615-48A5-8A71-D5E92EA6CAB8}" dt="2021-03-07T14:01:31.059" v="2581"/>
        <pc:sldMkLst>
          <pc:docMk/>
          <pc:sldMk cId="864045072" sldId="1938"/>
        </pc:sldMkLst>
        <pc:spChg chg="del">
          <ac:chgData name="Hanson, Kevin" userId="e60c6aad-8614-4884-8dc2-e8f78e5022b5" providerId="ADAL" clId="{CD801FB9-2615-48A5-8A71-D5E92EA6CAB8}" dt="2021-03-07T14:01:31.059" v="2581"/>
          <ac:spMkLst>
            <pc:docMk/>
            <pc:sldMk cId="864045072" sldId="1938"/>
            <ac:spMk id="2" creationId="{C96FDF95-1092-4064-8F0E-D3ACEAD4631A}"/>
          </ac:spMkLst>
        </pc:spChg>
      </pc:sldChg>
      <pc:sldChg chg="modSp add">
        <pc:chgData name="Hanson, Kevin" userId="e60c6aad-8614-4884-8dc2-e8f78e5022b5" providerId="ADAL" clId="{CD801FB9-2615-48A5-8A71-D5E92EA6CAB8}" dt="2021-03-07T14:13:28.046" v="3040" actId="20577"/>
        <pc:sldMkLst>
          <pc:docMk/>
          <pc:sldMk cId="2478347725" sldId="1939"/>
        </pc:sldMkLst>
        <pc:spChg chg="mod">
          <ac:chgData name="Hanson, Kevin" userId="e60c6aad-8614-4884-8dc2-e8f78e5022b5" providerId="ADAL" clId="{CD801FB9-2615-48A5-8A71-D5E92EA6CAB8}" dt="2021-03-07T14:10:48.572" v="2895" actId="20577"/>
          <ac:spMkLst>
            <pc:docMk/>
            <pc:sldMk cId="2478347725" sldId="1939"/>
            <ac:spMk id="3" creationId="{C3F50E54-2A65-427E-9654-EC9715669404}"/>
          </ac:spMkLst>
        </pc:spChg>
        <pc:spChg chg="mod">
          <ac:chgData name="Hanson, Kevin" userId="e60c6aad-8614-4884-8dc2-e8f78e5022b5" providerId="ADAL" clId="{CD801FB9-2615-48A5-8A71-D5E92EA6CAB8}" dt="2021-03-07T14:13:28.046" v="3040" actId="20577"/>
          <ac:spMkLst>
            <pc:docMk/>
            <pc:sldMk cId="2478347725" sldId="1939"/>
            <ac:spMk id="4" creationId="{72614A4C-E0C3-4663-8329-49198A6AA48F}"/>
          </ac:spMkLst>
        </pc:spChg>
      </pc:sldChg>
      <pc:sldMasterChg chg="delSldLayout">
        <pc:chgData name="Hanson, Kevin" userId="e60c6aad-8614-4884-8dc2-e8f78e5022b5" providerId="ADAL" clId="{CD801FB9-2615-48A5-8A71-D5E92EA6CAB8}" dt="2021-03-07T13:14:12.297" v="13" actId="2696"/>
        <pc:sldMasterMkLst>
          <pc:docMk/>
          <pc:sldMasterMk cId="831940063" sldId="2147483660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EA9419-6E8D-4127-B11E-BEB5726C661F}" type="datetimeFigureOut">
              <a:rPr lang="en-US" smtClean="0"/>
              <a:t>3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A62F87-9FF5-4D25-BCD1-3F6726F985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7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684297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59123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444387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309873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43891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0" y="277365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90262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80962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634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84599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057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89676656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1238946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8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3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40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2301137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8C6DC-682E-4721-829A-31576897B2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Rectangle 5">
            <a:extLst/>
          </p:cNvPr>
          <p:cNvSpPr/>
          <p:nvPr userDrawn="1"/>
        </p:nvSpPr>
        <p:spPr bwMode="auto">
          <a:xfrm>
            <a:off x="3156970" y="31043"/>
            <a:ext cx="5879548" cy="259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1400" dirty="0">
                <a:solidFill>
                  <a:srgbClr val="000000"/>
                </a:solidFill>
                <a:cs typeface="Arial"/>
              </a:rPr>
              <a:t>Confidential </a:t>
            </a:r>
            <a:r>
              <a:rPr lang="en-GB" sz="1400" b="0" i="1" dirty="0">
                <a:solidFill>
                  <a:srgbClr val="000000"/>
                </a:solidFill>
                <a:cs typeface="Arial"/>
              </a:rPr>
              <a:t>(NGET &amp; Ofgem)</a:t>
            </a:r>
            <a:endParaRPr lang="en-GB" sz="1800" b="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86110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71355" y="141120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8C172-F8CF-46F7-804C-835BAF38DD6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3" name="Rectangle 12">
            <a:extLst/>
          </p:cNvPr>
          <p:cNvSpPr/>
          <p:nvPr userDrawn="1"/>
        </p:nvSpPr>
        <p:spPr bwMode="auto">
          <a:xfrm>
            <a:off x="3156970" y="31043"/>
            <a:ext cx="5879548" cy="259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1400" dirty="0">
                <a:solidFill>
                  <a:srgbClr val="000000"/>
                </a:solidFill>
                <a:cs typeface="Arial"/>
              </a:rPr>
              <a:t>Confidential </a:t>
            </a:r>
            <a:r>
              <a:rPr lang="en-GB" sz="1400" b="0" i="1" dirty="0">
                <a:solidFill>
                  <a:srgbClr val="000000"/>
                </a:solidFill>
                <a:cs typeface="Arial"/>
              </a:rPr>
              <a:t>(NGET &amp; Ofgem)</a:t>
            </a:r>
            <a:endParaRPr lang="en-GB" sz="1800" b="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94214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7247465" cy="188477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8480D57-B2D8-4496-806A-1824358683A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1757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0" y="1411200"/>
            <a:ext cx="11040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D600AF-67DA-4103-ADCF-D04CEE1258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1" name="Guidance note">
            <a:extLst>
              <a:ext uri="{FF2B5EF4-FFF2-40B4-BE49-F238E27FC236}">
                <a16:creationId xmlns:a16="http://schemas.microsoft.com/office/drawing/2014/main" id="{E500F763-0BC0-4580-A71D-6F0F9287C7D7}"/>
              </a:ext>
            </a:extLst>
          </p:cNvPr>
          <p:cNvSpPr/>
          <p:nvPr userDrawn="1"/>
        </p:nvSpPr>
        <p:spPr>
          <a:xfrm>
            <a:off x="12275233" y="48037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96496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568761" y="6133626"/>
            <a:ext cx="2188087" cy="40151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869150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8FC637FA-B805-44DF-B633-71443FECF1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6629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549568EC-7896-49C6-B633-53DD6583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8" name="Freeform: Shape 3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C72F7E97-1443-4A2B-A03E-9D78C5DD4B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87F5CE5A-52B7-48EE-90F8-13ED9583F3B7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6453039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2484339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CA4E558A-A36F-41DB-9D1C-8A9CE926E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059473A8-6883-41A4-A23D-DD1B1D5F5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30" name="Round Diagonal Corner Rectangle 4">
            <a:extLst>
              <a:ext uri="{FF2B5EF4-FFF2-40B4-BE49-F238E27FC236}">
                <a16:creationId xmlns:a16="http://schemas.microsoft.com/office/drawing/2014/main" id="{57E0544E-0101-471C-ACC7-BD597E5BCFAE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9536089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F9165663-BF58-46EF-B3DC-0074C1C16B3C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02206450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CDB012FC-6F5E-4773-A9A9-508871AE11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682134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87724E65-2B53-4366-B770-73083FC3A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8CEA045E-A87B-4469-A789-0B95D1052D0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1567419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3713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8" name="Freeform: Shape 2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3532B68-E55F-4BD0-A158-E8EF4BE55C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D3A1E4EA-0077-42A5-956F-3A4718FA49A8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33148212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0" y="2909034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082590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53450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94736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 heading</a:t>
            </a:r>
            <a:endParaRPr lang="en-GB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5454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26774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A2E84-FF65-45D0-93C2-019D4F588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7BA243-DD64-48EF-9275-08FF1A1EA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374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28E364-946A-4B62-886C-FF6FF22642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3277538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866903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23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FB5E17-00EB-47B0-8725-FCF93154B6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3392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FB5E17-00EB-47B0-8725-FCF93154B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650C678-CC1E-4A33-8D35-4F9A3F5CAF0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 dirty="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 dirty="0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831940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700" r:id="rId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8310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22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</a:t>
            </a:r>
            <a:r>
              <a:rPr lang="fr-FR" err="1"/>
              <a:t>Title</a:t>
            </a:r>
            <a:r>
              <a:rPr lang="fr-FR"/>
              <a:t>] | [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9003146" y="73895"/>
            <a:ext cx="2757054" cy="6234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>
              <a:spcAft>
                <a:spcPts val="450"/>
              </a:spcAft>
            </a:pPr>
            <a:r>
              <a:rPr lang="en-GB" sz="1400" b="1">
                <a:solidFill>
                  <a:schemeClr val="accent3"/>
                </a:solidFill>
                <a:latin typeface="+mn-lt"/>
                <a:cs typeface="Arial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3816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1800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1800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1800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1800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1800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18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D45D99-0530-408C-BB02-97D90970D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D45D99-0530-408C-BB02-97D90970D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888537-1184-4B64-A5BE-E3FFC802DBB6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24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2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1811" y="6352054"/>
            <a:ext cx="8730140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575734" y="6352054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fr-FR"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074098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689">
          <p15:clr>
            <a:srgbClr val="F26B43"/>
          </p15:clr>
        </p15:guide>
        <p15:guide id="4" pos="7317">
          <p15:clr>
            <a:srgbClr val="F26B43"/>
          </p15:clr>
        </p15:guide>
        <p15:guide id="6" orient="horz" pos="3793">
          <p15:clr>
            <a:srgbClr val="F26B43"/>
          </p15:clr>
        </p15:guide>
        <p15:guide id="8" pos="363">
          <p15:clr>
            <a:srgbClr val="F26B43"/>
          </p15:clr>
        </p15:guide>
        <p15:guide id="13" pos="3991">
          <p15:clr>
            <a:srgbClr val="F26B43"/>
          </p15:clr>
        </p15:guide>
        <p15:guide id="14" orient="horz" pos="414">
          <p15:clr>
            <a:srgbClr val="F26B43"/>
          </p15:clr>
        </p15:guide>
        <p15:guide id="15" orient="horz" pos="889">
          <p15:clr>
            <a:srgbClr val="F26B43"/>
          </p15:clr>
        </p15:guide>
        <p15:guide id="16" pos="2752">
          <p15:clr>
            <a:srgbClr val="F26B43"/>
          </p15:clr>
        </p15:guide>
        <p15:guide id="17" pos="5140">
          <p15:clr>
            <a:srgbClr val="F26B43"/>
          </p15:clr>
        </p15:guide>
        <p15:guide id="18" pos="4928">
          <p15:clr>
            <a:srgbClr val="F26B43"/>
          </p15:clr>
        </p15:guide>
        <p15:guide id="19" pos="2540">
          <p15:clr>
            <a:srgbClr val="F26B43"/>
          </p15:clr>
        </p15:guide>
        <p15:guide id="20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45AD27-21E5-40F3-A091-F6B24EBCD7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54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45AD27-21E5-40F3-A091-F6B24EBCD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D99E379-FB92-4811-B586-1CDFD89FD3E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US" sz="28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6268D1-38FA-4247-9673-30691D60B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0" y="1082040"/>
            <a:ext cx="8025559" cy="1487163"/>
          </a:xfrm>
        </p:spPr>
        <p:txBody>
          <a:bodyPr/>
          <a:lstStyle/>
          <a:p>
            <a:r>
              <a:rPr lang="en-US" sz="4000" dirty="0"/>
              <a:t>Proposed Changes to RARF/RIOO, SARA, and CDR</a:t>
            </a:r>
            <a:br>
              <a:rPr lang="en-US" sz="4000" dirty="0"/>
            </a:br>
            <a:br>
              <a:rPr lang="en-US" sz="4000" dirty="0"/>
            </a:br>
            <a:r>
              <a:rPr lang="en-US" sz="2800" dirty="0"/>
              <a:t>Supply Adequacy Working Grou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185FB-353B-40E0-B66C-E9EE917C04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0" y="3490260"/>
            <a:ext cx="5378452" cy="1846659"/>
          </a:xfrm>
        </p:spPr>
        <p:txBody>
          <a:bodyPr/>
          <a:lstStyle/>
          <a:p>
            <a:r>
              <a:rPr lang="en-US" dirty="0"/>
              <a:t>April 23, 2021</a:t>
            </a:r>
          </a:p>
          <a:p>
            <a:endParaRPr lang="en-US" dirty="0"/>
          </a:p>
          <a:p>
            <a:r>
              <a:rPr lang="en-US" dirty="0"/>
              <a:t>Kevin Hanson</a:t>
            </a:r>
          </a:p>
          <a:p>
            <a:r>
              <a:rPr lang="en-US" i="1" dirty="0"/>
              <a:t>Principal Analy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3649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5152EB-5A91-4FA8-8F9D-2CFF3F5A826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97150" y="6319838"/>
            <a:ext cx="9594850" cy="227012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404507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69241B-F7AC-4CAE-8D41-F04B1EEA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uch load could there have been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CB2302-D77E-4445-89F4-7F59E522BE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8076" y="1036212"/>
            <a:ext cx="9115455" cy="52521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9BEEB4-7D92-437E-B82E-C0FBDCAB1557}"/>
              </a:ext>
            </a:extLst>
          </p:cNvPr>
          <p:cNvSpPr txBox="1"/>
          <p:nvPr/>
        </p:nvSpPr>
        <p:spPr bwMode="auto">
          <a:xfrm>
            <a:off x="430373" y="2088351"/>
            <a:ext cx="1750696" cy="1384995"/>
          </a:xfrm>
          <a:prstGeom prst="rect">
            <a:avLst/>
          </a:prstGeom>
          <a:noFill/>
          <a:ln w="50800">
            <a:solidFill>
              <a:srgbClr val="78A22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1800" b="0" i="1" kern="0" dirty="0">
                <a:solidFill>
                  <a:schemeClr val="tx1"/>
                </a:solidFill>
                <a:latin typeface="+mn-lt"/>
                <a:ea typeface="+mn-ea"/>
              </a:rPr>
              <a:t>ERCOT estimated 76,819 MW for the February 2021 ev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E4A750-904A-48A8-B911-F8560A9E89AE}"/>
              </a:ext>
            </a:extLst>
          </p:cNvPr>
          <p:cNvSpPr txBox="1"/>
          <p:nvPr/>
        </p:nvSpPr>
        <p:spPr bwMode="auto">
          <a:xfrm>
            <a:off x="430373" y="4265826"/>
            <a:ext cx="1750696" cy="830997"/>
          </a:xfrm>
          <a:prstGeom prst="rect">
            <a:avLst/>
          </a:prstGeom>
          <a:noFill/>
          <a:ln w="50800">
            <a:solidFill>
              <a:srgbClr val="78A22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1800" b="0" i="1" kern="0" dirty="0">
                <a:solidFill>
                  <a:schemeClr val="tx1"/>
                </a:solidFill>
                <a:latin typeface="+mn-lt"/>
                <a:ea typeface="+mn-ea"/>
              </a:rPr>
              <a:t>Winter 2011 event is not in the Top 15 days</a:t>
            </a:r>
          </a:p>
        </p:txBody>
      </p:sp>
    </p:spTree>
    <p:extLst>
      <p:ext uri="{BB962C8B-B14F-4D97-AF65-F5344CB8AC3E}">
        <p14:creationId xmlns:p14="http://schemas.microsoft.com/office/powerpoint/2010/main" val="4046199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69241B-F7AC-4CAE-8D41-F04B1EEA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llas Cold Weather Days in 1989, 2011, and 202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65F4D1-5097-4340-9A60-49566A5DE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1741" y="931281"/>
            <a:ext cx="7787089" cy="565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910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969241B-F7AC-4CAE-8D41-F04B1EEA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the temperatures impact it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9BEEB4-7D92-437E-B82E-C0FBDCAB1557}"/>
              </a:ext>
            </a:extLst>
          </p:cNvPr>
          <p:cNvSpPr txBox="1"/>
          <p:nvPr/>
        </p:nvSpPr>
        <p:spPr bwMode="auto">
          <a:xfrm>
            <a:off x="430373" y="1454046"/>
            <a:ext cx="1750696" cy="1384995"/>
          </a:xfrm>
          <a:prstGeom prst="rect">
            <a:avLst/>
          </a:prstGeom>
          <a:noFill/>
          <a:ln w="50800">
            <a:solidFill>
              <a:srgbClr val="78A22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1800" b="0" i="1" kern="0" dirty="0">
                <a:solidFill>
                  <a:schemeClr val="tx1"/>
                </a:solidFill>
                <a:latin typeface="+mn-lt"/>
                <a:ea typeface="+mn-ea"/>
              </a:rPr>
              <a:t>ERCOT estimated 76,819 MW for the February 2021 ev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61062D-C978-4572-AAED-AE1709DA32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306" y="1029844"/>
            <a:ext cx="9372894" cy="5274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51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F818F3-0488-4633-B69C-D5A758E6C7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SAWG March 26,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3F50E54-2A65-427E-9654-EC9715669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Items to Discus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614A4C-E0C3-4663-8329-49198A6AA48F}"/>
              </a:ext>
            </a:extLst>
          </p:cNvPr>
          <p:cNvSpPr/>
          <p:nvPr/>
        </p:nvSpPr>
        <p:spPr>
          <a:xfrm>
            <a:off x="576882" y="1259175"/>
            <a:ext cx="1103680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Potential changes to RARF/RIOO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Potential changes to SARA and CDR</a:t>
            </a:r>
          </a:p>
        </p:txBody>
      </p:sp>
    </p:spTree>
    <p:extLst>
      <p:ext uri="{BB962C8B-B14F-4D97-AF65-F5344CB8AC3E}">
        <p14:creationId xmlns:p14="http://schemas.microsoft.com/office/powerpoint/2010/main" val="306257027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F8A14A-4B85-44AE-8EB4-7EA2C0E16E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8636846" cy="4431983"/>
          </a:xfrm>
        </p:spPr>
        <p:txBody>
          <a:bodyPr/>
          <a:lstStyle/>
          <a:p>
            <a:pPr marL="342900" indent="-342900">
              <a:buFont typeface="+mj-lt"/>
              <a:buAutoNum type="arabicParenR"/>
            </a:pPr>
            <a:r>
              <a:rPr lang="en-US" b="0" dirty="0">
                <a:solidFill>
                  <a:schemeClr val="tx1"/>
                </a:solidFill>
              </a:rPr>
              <a:t>Capabilities of power plants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Currently ERCOT uses Summer and Winter Ratings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Propose having Ratings based on Temperature</a:t>
            </a:r>
          </a:p>
          <a:p>
            <a:pPr marL="940050" lvl="3" indent="-400050">
              <a:buFont typeface="+mj-lt"/>
              <a:buAutoNum type="romanLcPeriod"/>
            </a:pPr>
            <a:r>
              <a:rPr lang="en-US" dirty="0"/>
              <a:t>Filings would have HSL and LSL capabilities every 10 degrees Fahrenheit from 0 to 130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In addition, auxiliary load at each 10 degrees as well</a:t>
            </a:r>
          </a:p>
          <a:p>
            <a:pPr marL="342900" lvl="1" indent="-342900">
              <a:buFont typeface="+mj-lt"/>
              <a:buAutoNum type="arabicParenR" startAt="2"/>
            </a:pPr>
            <a:r>
              <a:rPr lang="en-US" sz="1800" dirty="0"/>
              <a:t>Number of pipelines to plants and type of contracts available on those pipelines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Include up to 5 fields to showing pipeline name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Include up to 5 fields to show the type of natural gas contracts available to the power plant: firm, interruptible, or both</a:t>
            </a:r>
          </a:p>
          <a:p>
            <a:pPr marL="342900" lvl="1" indent="-342900">
              <a:buFont typeface="+mj-lt"/>
              <a:buAutoNum type="arabicParenR" startAt="2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32178-DDB7-4F97-AFF6-8BDE318563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791811" y="6305887"/>
            <a:ext cx="8730140" cy="215444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 sz="1400" dirty="0"/>
              <a:t>| SAWG March 26,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CC67AC-8AB8-4EDD-9B62-E0274CD9E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changes to RARF/RIOO</a:t>
            </a:r>
          </a:p>
        </p:txBody>
      </p:sp>
    </p:spTree>
    <p:extLst>
      <p:ext uri="{BB962C8B-B14F-4D97-AF65-F5344CB8AC3E}">
        <p14:creationId xmlns:p14="http://schemas.microsoft.com/office/powerpoint/2010/main" val="2955339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F8A14A-4B85-44AE-8EB4-7EA2C0E16E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5" y="976949"/>
            <a:ext cx="9946216" cy="6247864"/>
          </a:xfrm>
        </p:spPr>
        <p:txBody>
          <a:bodyPr/>
          <a:lstStyle/>
          <a:p>
            <a:pPr marL="342900" indent="-342900">
              <a:buFont typeface="+mj-lt"/>
              <a:buAutoNum type="arabicParenR"/>
            </a:pPr>
            <a:endParaRPr lang="en-US" dirty="0"/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ERCOT wide temperature scenarios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Each season would includes the span of historical temperatures from 1950 to 2021 (and ongoing) that have impact the ERCOT market</a:t>
            </a:r>
          </a:p>
          <a:p>
            <a:pPr marL="940050" lvl="3" indent="-400050">
              <a:buFont typeface="+mj-lt"/>
              <a:buAutoNum type="romanLcPeriod"/>
            </a:pPr>
            <a:r>
              <a:rPr lang="en-US" dirty="0"/>
              <a:t>For instance, winter may be 0 to 90 degrees.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The weighting would be based on historical locational loads per the load forecasting team at ERCOT.</a:t>
            </a:r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Time of Day Maximum Loads</a:t>
            </a:r>
          </a:p>
          <a:p>
            <a:pPr marL="612900" lvl="2" indent="-342900">
              <a:buFont typeface="+mj-lt"/>
              <a:buAutoNum type="alphaLcParenR"/>
            </a:pPr>
            <a:r>
              <a:rPr lang="en-US" dirty="0"/>
              <a:t>ERCOT load forecasting team would look at the expected time of day of the historical temperatures</a:t>
            </a:r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Load forecast using the temperatures and the historical weather year that represents the worst case scenarios</a:t>
            </a:r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Incorporate in Auxiliary load by resource class assumptions by temperature level</a:t>
            </a:r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Incorporate details of percentage of gas power plants with none, one, or two or more pipelines with Firm contract capability</a:t>
            </a:r>
          </a:p>
          <a:p>
            <a:pPr marL="342900" lvl="1" indent="-342900">
              <a:buFont typeface="+mj-lt"/>
              <a:buAutoNum type="arabicParenR"/>
            </a:pPr>
            <a:r>
              <a:rPr lang="en-US" dirty="0"/>
              <a:t>Have ERCOT meteorologist highlight temperature expectations for this upcoming season</a:t>
            </a:r>
          </a:p>
          <a:p>
            <a:pPr lvl="2" indent="0">
              <a:buNone/>
            </a:pPr>
            <a:endParaRPr lang="en-US" dirty="0"/>
          </a:p>
          <a:p>
            <a:pPr marL="342900" lvl="1" indent="-342900">
              <a:buFont typeface="+mj-lt"/>
              <a:buAutoNum type="arabicParenR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32178-DDB7-4F97-AFF6-8BDE318563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791811" y="6305887"/>
            <a:ext cx="8730140" cy="215444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 sz="1400" dirty="0"/>
              <a:t>| SAWG March 26,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CC67AC-8AB8-4EDD-9B62-E0274CD9E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changes to SARA and CDR</a:t>
            </a:r>
          </a:p>
        </p:txBody>
      </p:sp>
    </p:spTree>
    <p:extLst>
      <p:ext uri="{BB962C8B-B14F-4D97-AF65-F5344CB8AC3E}">
        <p14:creationId xmlns:p14="http://schemas.microsoft.com/office/powerpoint/2010/main" val="420651516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284756-9923-4DA6-939D-470E1B7AF2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 dirty="0"/>
              <a:t>| SAWG March 26, 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89DB9B-CDE1-44F8-ADFF-EA66B19D0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xample of topics for new SARA and CD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464632-5E85-4535-8173-FAA0EF2823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9193" y="931281"/>
            <a:ext cx="8652185" cy="526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56870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F818F3-0488-4633-B69C-D5A758E6C7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SAWG March 26,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3F50E54-2A65-427E-9654-EC9715669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scription of Initia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614A4C-E0C3-4663-8329-49198A6AA48F}"/>
              </a:ext>
            </a:extLst>
          </p:cNvPr>
          <p:cNvSpPr/>
          <p:nvPr/>
        </p:nvSpPr>
        <p:spPr>
          <a:xfrm>
            <a:off x="576882" y="1259175"/>
            <a:ext cx="11036808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RARF  - Resource Asset Registration Form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RIOO – Resource Integration &amp; On-going Operations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CDR – Capacity, Demand, and Reserves Report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SARA – Seasonal Assessment of Resource Adequacy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HSL – High Sustained Limit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LSL – Low Sustained Limit</a:t>
            </a:r>
          </a:p>
        </p:txBody>
      </p:sp>
    </p:spTree>
    <p:extLst>
      <p:ext uri="{BB962C8B-B14F-4D97-AF65-F5344CB8AC3E}">
        <p14:creationId xmlns:p14="http://schemas.microsoft.com/office/powerpoint/2010/main" val="247834772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ImiNBu_67wj26AiD_b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sFaiqDTT6svidrKYeK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uhikHP3.xVhqP1Kk5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xF9eqlzQ1LRvijNsZc8w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9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ational Grid_Template 16x9.potx" id="{53D06FB9-EFAE-4603-A05B-77A7D7698A24}" vid="{4E085DDE-8E1E-47DF-B6EC-00DCC59980DE}"/>
    </a:ext>
  </a:extLst>
</a:theme>
</file>

<file path=ppt/theme/theme3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G PowerPoint Template 4x3 2018" id="{CF4301EE-653F-40A0-9CC8-367CE7C89D59}" vid="{D546EC4C-4F19-45E5-8664-8862EDE2613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26a92c5ff7f66a66edab1b532edcb3a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650d7a744f1a252e814586b78a25104f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B536FC8-3D9E-4DF5-B4E7-C013335082E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2d3d4732-a288-4eb3-92ed-f68c40ba596f"/>
    <ds:schemaRef ds:uri="http://schemas.microsoft.com/office/infopath/2007/PartnerControls"/>
    <ds:schemaRef ds:uri="e05e7fb9-d0e6-4ab6-b560-888fcb48552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C0E618D-6082-4E11-B944-FA5B40C067D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6EAF46-55E1-4402-A2AD-D407F8F43C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5e7fb9-d0e6-4ab6-b560-888fcb485524"/>
    <ds:schemaRef ds:uri="2d3d4732-a288-4eb3-92ed-f68c40ba59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28</TotalTime>
  <Words>413</Words>
  <Application>Microsoft Office PowerPoint</Application>
  <PresentationFormat>Widescreen</PresentationFormat>
  <Paragraphs>5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Symbol</vt:lpstr>
      <vt:lpstr>Wingdings</vt:lpstr>
      <vt:lpstr>US NG_2018 PPT__EnergyLines Template 16x9</vt:lpstr>
      <vt:lpstr>9_NG_PPT_16x9_Generic_template-blue</vt:lpstr>
      <vt:lpstr>NG_PPT_16x9_Generic_template-blue</vt:lpstr>
      <vt:lpstr>think-cell Slide</vt:lpstr>
      <vt:lpstr>Proposed Changes to RARF/RIOO, SARA, and CDR  Supply Adequacy Working Group</vt:lpstr>
      <vt:lpstr>How much load could there have been?</vt:lpstr>
      <vt:lpstr>Dallas Cold Weather Days in 1989, 2011, and 2021</vt:lpstr>
      <vt:lpstr>How does the temperatures impact it?</vt:lpstr>
      <vt:lpstr>Items to Discuss</vt:lpstr>
      <vt:lpstr>Potential changes to RARF/RIOO</vt:lpstr>
      <vt:lpstr>Potential changes to SARA and CDR</vt:lpstr>
      <vt:lpstr>Example of topics for new SARA and CDR</vt:lpstr>
      <vt:lpstr>Description of Initia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plan</dc:title>
  <dc:creator>Maddock, Kerri</dc:creator>
  <cp:lastModifiedBy>Hanson, Kevin</cp:lastModifiedBy>
  <cp:revision>70</cp:revision>
  <dcterms:created xsi:type="dcterms:W3CDTF">2019-06-11T18:01:06Z</dcterms:created>
  <dcterms:modified xsi:type="dcterms:W3CDTF">2021-03-24T19:0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  <property fmtid="{D5CDD505-2E9C-101B-9397-08002B2CF9AE}" pid="7" name="ContentTypeId">
    <vt:lpwstr>0x0101007CC217B65CDFCE4CA575B84210C98C75</vt:lpwstr>
  </property>
</Properties>
</file>